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41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54-4510-894C-1FF0F46F075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654-4510-894C-1FF0F46F07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9292096"/>
        <c:axId val="619282496"/>
      </c:areaChart>
      <c:catAx>
        <c:axId val="61929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82496"/>
        <c:crosses val="autoZero"/>
        <c:auto val="0"/>
        <c:lblAlgn val="ctr"/>
        <c:lblOffset val="100"/>
        <c:tickLblSkip val="1"/>
        <c:noMultiLvlLbl val="1"/>
      </c:catAx>
      <c:valAx>
        <c:axId val="6192824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9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3D-4909-981D-9BA4AAA4C53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5658</c:v>
                </c:pt>
                <c:pt idx="1">
                  <c:v>45809</c:v>
                </c:pt>
                <c:pt idx="2">
                  <c:v>45839</c:v>
                </c:pt>
                <c:pt idx="3">
                  <c:v>45870</c:v>
                </c:pt>
                <c:pt idx="4">
                  <c:v>45901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3D-4909-981D-9BA4AAA4C5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9292096"/>
        <c:axId val="619282496"/>
      </c:areaChart>
      <c:catAx>
        <c:axId val="61929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82496"/>
        <c:crosses val="autoZero"/>
        <c:auto val="0"/>
        <c:lblAlgn val="ctr"/>
        <c:lblOffset val="100"/>
        <c:noMultiLvlLbl val="1"/>
      </c:catAx>
      <c:valAx>
        <c:axId val="6192824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29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BFA642-D6FE-9DB2-F171-FDB523BB69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68402F0-7A7E-C0AC-54A0-CD79BFA605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8402F0-7A7E-C0AC-54A0-CD79BFA60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2F114AA4-C6EB-0BA6-70CA-40EB85E8E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rea / Stacked Area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61EF007-E8BD-F38D-F0F7-2CAA8C569A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9C45A4FF-3DE3-5198-A67E-9E5C23122E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B3CCACF4-D1D8-08B2-8CB9-BAB9B3AE2A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FD131687-E1BE-78A6-60DB-E6765330C49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graphicFrame>
        <p:nvGraphicFramePr>
          <p:cNvPr id="23" name="Chart Placeholder 9">
            <a:extLst>
              <a:ext uri="{FF2B5EF4-FFF2-40B4-BE49-F238E27FC236}">
                <a16:creationId xmlns:a16="http://schemas.microsoft.com/office/drawing/2014/main" id="{3F8E514C-E3A7-5324-201D-D0EBDEFACAD3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4038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Placeholder 9">
            <a:extLst>
              <a:ext uri="{FF2B5EF4-FFF2-40B4-BE49-F238E27FC236}">
                <a16:creationId xmlns:a16="http://schemas.microsoft.com/office/drawing/2014/main" id="{EA378350-A86F-B82B-B83D-0FD9A9B58DA6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619728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0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Area / Stacked Are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37</cp:revision>
  <dcterms:created xsi:type="dcterms:W3CDTF">2025-07-09T10:57:17Z</dcterms:created>
  <dcterms:modified xsi:type="dcterms:W3CDTF">2025-10-22T10:05:32Z</dcterms:modified>
  <cp:category/>
</cp:coreProperties>
</file>